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890" r:id="rId4"/>
  </p:sldMasterIdLst>
  <p:notesMasterIdLst>
    <p:notesMasterId r:id="rId7"/>
  </p:notesMasterIdLst>
  <p:handoutMasterIdLst>
    <p:handoutMasterId r:id="rId8"/>
  </p:handoutMasterIdLst>
  <p:sldIdLst>
    <p:sldId id="5235" r:id="rId5"/>
    <p:sldId id="5236" r:id="rId6"/>
  </p:sldIdLst>
  <p:sldSz cx="9906000" cy="6858000" type="A4"/>
  <p:notesSz cx="7104063" cy="10234613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既定のセクション" id="{55EE4978-646A-44BF-8321-58466ACF4D42}">
          <p14:sldIdLst>
            <p14:sldId id="5235"/>
            <p14:sldId id="5236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4133" userDrawn="1">
          <p15:clr>
            <a:srgbClr val="A4A3A4"/>
          </p15:clr>
        </p15:guide>
        <p15:guide id="7" orient="horz" pos="2319" userDrawn="1">
          <p15:clr>
            <a:srgbClr val="A4A3A4"/>
          </p15:clr>
        </p15:guide>
        <p15:guide id="10" pos="6046" userDrawn="1">
          <p15:clr>
            <a:srgbClr val="A4A3A4"/>
          </p15:clr>
        </p15:guide>
        <p15:guide id="11" pos="3120">
          <p15:clr>
            <a:srgbClr val="A4A3A4"/>
          </p15:clr>
        </p15:guide>
        <p15:guide id="13" pos="172" userDrawn="1">
          <p15:clr>
            <a:srgbClr val="A4A3A4"/>
          </p15:clr>
        </p15:guide>
        <p15:guide id="14" orient="horz" pos="55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  <p188:author id="{942AD316-591C-5517-45F5-6406BD62CA4A}" name="Takuma Nara" initials="TN" userId="S::takuma.nara@sipartners.org::e4a51a0b-44d8-45b6-8c48-46b732523fde" providerId="AD"/>
  <p188:author id="{0DC1F834-9E27-CCC6-A1E1-1F32341E4898}" name="shohei.sho.tada@gmail.com" initials="sh" userId="S::urn:spo:guest#shohei.sho.tada@gmail.com::" providerId="AD"/>
  <p188:author id="{185E2EBA-D2C2-1797-43A1-1C6D975856CA}" name="Sho Imamura" initials="SI" userId="S::sho.imamura@sipartners.org::08a52ccb-af14-49e7-91e2-78c309816a53" providerId="AD"/>
  <p188:author id="{F671D6C5-EEE2-D6EE-80A3-8393221F53F5}" name="多田　翔平" initials="多田　翔平" userId="S::a8121165@aoyama.jp::f8767b27-2c80-4c75-9b13-bcf9036c8e4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2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CECFF"/>
    <a:srgbClr val="EDDAEE"/>
    <a:srgbClr val="FF3300"/>
    <a:srgbClr val="ED7D31"/>
    <a:srgbClr val="0070C0"/>
    <a:srgbClr val="53548A"/>
    <a:srgbClr val="63647F"/>
    <a:srgbClr val="00A1DE"/>
    <a:srgbClr val="4A7E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2804C0-3802-88DF-E909-A58254BE090E}" v="4" dt="2026-02-20T12:31:23.312"/>
    <p1510:client id="{4E5A6550-076C-43AD-A159-913155E0502B}" v="1" dt="2026-02-19T09:55:22.086"/>
    <p1510:client id="{D2C03702-6B6B-3A36-E665-4E9BD256822B}" v="22" dt="2026-02-20T12:22:10.2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テーマ スタイル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4133"/>
        <p:guide orient="horz" pos="2319"/>
        <p:guide pos="6046"/>
        <p:guide pos="3120"/>
        <p:guide pos="172"/>
        <p:guide orient="horz" pos="55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223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o Imamura" userId="08a52ccb-af14-49e7-91e2-78c309816a53" providerId="ADAL" clId="{0AA1FFBD-5759-4139-8230-A0EEF26B5ED4}"/>
    <pc:docChg chg="modSld">
      <pc:chgData name="Sho Imamura" userId="08a52ccb-af14-49e7-91e2-78c309816a53" providerId="ADAL" clId="{0AA1FFBD-5759-4139-8230-A0EEF26B5ED4}" dt="2026-02-19T09:55:22.086" v="1"/>
      <pc:docMkLst>
        <pc:docMk/>
      </pc:docMkLst>
      <pc:sldChg chg="modSp mod">
        <pc:chgData name="Sho Imamura" userId="08a52ccb-af14-49e7-91e2-78c309816a53" providerId="ADAL" clId="{0AA1FFBD-5759-4139-8230-A0EEF26B5ED4}" dt="2026-02-19T09:55:22.086" v="1"/>
        <pc:sldMkLst>
          <pc:docMk/>
          <pc:sldMk cId="3614562224" sldId="5236"/>
        </pc:sldMkLst>
        <pc:graphicFrameChg chg="mod modGraphic">
          <ac:chgData name="Sho Imamura" userId="08a52ccb-af14-49e7-91e2-78c309816a53" providerId="ADAL" clId="{0AA1FFBD-5759-4139-8230-A0EEF26B5ED4}" dt="2026-02-19T09:55:22.086" v="1"/>
          <ac:graphicFrameMkLst>
            <pc:docMk/>
            <pc:sldMk cId="3614562224" sldId="5236"/>
            <ac:graphicFrameMk id="5" creationId="{84B92A41-8FAA-B9E2-DA31-743B01679BCD}"/>
          </ac:graphicFrameMkLst>
        </pc:graphicFrameChg>
      </pc:sldChg>
    </pc:docChg>
  </pc:docChgLst>
  <pc:docChgLst>
    <pc:chgData name="ゲスト ユーザー" userId="S::urn:spo:tenantanon#38ceb1b0-5864-4ea8-9755-dcaae83eb515::" providerId="AD" clId="Web-{242804C0-3802-88DF-E909-A58254BE090E}"/>
    <pc:docChg chg="modSld">
      <pc:chgData name="ゲスト ユーザー" userId="S::urn:spo:tenantanon#38ceb1b0-5864-4ea8-9755-dcaae83eb515::" providerId="AD" clId="Web-{242804C0-3802-88DF-E909-A58254BE090E}" dt="2026-02-20T12:25:24.357" v="1"/>
      <pc:docMkLst>
        <pc:docMk/>
      </pc:docMkLst>
      <pc:sldChg chg="modSp">
        <pc:chgData name="ゲスト ユーザー" userId="S::urn:spo:tenantanon#38ceb1b0-5864-4ea8-9755-dcaae83eb515::" providerId="AD" clId="Web-{242804C0-3802-88DF-E909-A58254BE090E}" dt="2026-02-20T12:25:24.357" v="1"/>
        <pc:sldMkLst>
          <pc:docMk/>
          <pc:sldMk cId="110078523" sldId="5235"/>
        </pc:sldMkLst>
        <pc:graphicFrameChg chg="mod modGraphic">
          <ac:chgData name="ゲスト ユーザー" userId="S::urn:spo:tenantanon#38ceb1b0-5864-4ea8-9755-dcaae83eb515::" providerId="AD" clId="Web-{242804C0-3802-88DF-E909-A58254BE090E}" dt="2026-02-20T12:25:24.357" v="1"/>
          <ac:graphicFrameMkLst>
            <pc:docMk/>
            <pc:sldMk cId="110078523" sldId="5235"/>
            <ac:graphicFrameMk id="5" creationId="{ACE75F84-6D10-B542-9F8E-BDF860C4BCFC}"/>
          </ac:graphicFrameMkLst>
        </pc:graphicFrameChg>
      </pc:sldChg>
    </pc:docChg>
  </pc:docChgLst>
  <pc:docChgLst>
    <pc:chgData name="ゲスト ユーザー" userId="S::urn:spo:tenantanon#38ceb1b0-5864-4ea8-9755-dcaae83eb515::" providerId="AD" clId="Web-{D2C03702-6B6B-3A36-E665-4E9BD256822B}"/>
    <pc:docChg chg="modSld">
      <pc:chgData name="ゲスト ユーザー" userId="S::urn:spo:tenantanon#38ceb1b0-5864-4ea8-9755-dcaae83eb515::" providerId="AD" clId="Web-{D2C03702-6B6B-3A36-E665-4E9BD256822B}" dt="2026-02-20T12:22:08.831" v="1"/>
      <pc:docMkLst>
        <pc:docMk/>
      </pc:docMkLst>
      <pc:sldChg chg="modSp">
        <pc:chgData name="ゲスト ユーザー" userId="S::urn:spo:tenantanon#38ceb1b0-5864-4ea8-9755-dcaae83eb515::" providerId="AD" clId="Web-{D2C03702-6B6B-3A36-E665-4E9BD256822B}" dt="2026-02-20T12:22:08.831" v="1"/>
        <pc:sldMkLst>
          <pc:docMk/>
          <pc:sldMk cId="110078523" sldId="5235"/>
        </pc:sldMkLst>
        <pc:graphicFrameChg chg="mod modGraphic">
          <ac:chgData name="ゲスト ユーザー" userId="S::urn:spo:tenantanon#38ceb1b0-5864-4ea8-9755-dcaae83eb515::" providerId="AD" clId="Web-{D2C03702-6B6B-3A36-E665-4E9BD256822B}" dt="2026-02-20T12:22:08.831" v="1"/>
          <ac:graphicFrameMkLst>
            <pc:docMk/>
            <pc:sldMk cId="110078523" sldId="5235"/>
            <ac:graphicFrameMk id="5" creationId="{ACE75F84-6D10-B542-9F8E-BDF860C4BCFC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3079409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4967" tIns="32485" rIns="64967" bIns="32485" numCol="1" anchor="t" anchorCtr="0" compatLnSpc="1">
            <a:prstTxWarp prst="textNoShape">
              <a:avLst/>
            </a:prstTxWarp>
          </a:bodyPr>
          <a:lstStyle>
            <a:lvl1pPr defTabSz="650270">
              <a:defRPr sz="8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4024656" y="0"/>
            <a:ext cx="3077772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4967" tIns="32485" rIns="64967" bIns="32485" numCol="1" anchor="t" anchorCtr="0" compatLnSpc="1">
            <a:prstTxWarp prst="textNoShape">
              <a:avLst/>
            </a:prstTxWarp>
          </a:bodyPr>
          <a:lstStyle>
            <a:lvl1pPr algn="r" defTabSz="650270">
              <a:defRPr sz="800"/>
            </a:lvl1pPr>
          </a:lstStyle>
          <a:p>
            <a:fld id="{39D7E852-17AA-4CB6-8273-0685DB7F9B51}" type="datetimeFigureOut">
              <a:rPr lang="en-US"/>
              <a:pPr/>
              <a:t>2/20/202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721264"/>
            <a:ext cx="3079409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4967" tIns="32485" rIns="64967" bIns="32485" numCol="1" anchor="b" anchorCtr="0" compatLnSpc="1">
            <a:prstTxWarp prst="textNoShape">
              <a:avLst/>
            </a:prstTxWarp>
          </a:bodyPr>
          <a:lstStyle>
            <a:lvl1pPr defTabSz="650270">
              <a:defRPr sz="8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4024656" y="9721264"/>
            <a:ext cx="3077772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4967" tIns="32485" rIns="64967" bIns="32485" numCol="1" anchor="b" anchorCtr="0" compatLnSpc="1">
            <a:prstTxWarp prst="textNoShape">
              <a:avLst/>
            </a:prstTxWarp>
          </a:bodyPr>
          <a:lstStyle>
            <a:lvl1pPr algn="r" defTabSz="650270">
              <a:defRPr sz="800"/>
            </a:lvl1pPr>
          </a:lstStyle>
          <a:p>
            <a:fld id="{61B1335B-9C73-459E-8F94-9ADB241FD5F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419856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3079409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9" tIns="49526" rIns="99049" bIns="49526" numCol="1" anchor="t" anchorCtr="0" compatLnSpc="1">
            <a:prstTxWarp prst="textNoShape">
              <a:avLst/>
            </a:prstTxWarp>
          </a:bodyPr>
          <a:lstStyle>
            <a:lvl1pPr defTabSz="650270">
              <a:defRPr sz="1200">
                <a:latin typeface="Calibri" pitchFamily="34" charset="0"/>
              </a:defRPr>
            </a:lvl1pPr>
          </a:lstStyle>
          <a:p>
            <a:endParaRPr lang="en-GB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4024656" y="0"/>
            <a:ext cx="3077772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9" tIns="49526" rIns="99049" bIns="49526" numCol="1" anchor="t" anchorCtr="0" compatLnSpc="1">
            <a:prstTxWarp prst="textNoShape">
              <a:avLst/>
            </a:prstTxWarp>
          </a:bodyPr>
          <a:lstStyle>
            <a:lvl1pPr algn="r" defTabSz="650270">
              <a:defRPr sz="1200">
                <a:latin typeface="Calibri" pitchFamily="34" charset="0"/>
              </a:defRPr>
            </a:lvl1pPr>
          </a:lstStyle>
          <a:p>
            <a:fld id="{B76C7504-6E39-4454-ABF9-7D8634367105}" type="datetimeFigureOut">
              <a:rPr lang="en-US">
                <a:latin typeface="Arial"/>
              </a:rPr>
              <a:pPr/>
              <a:t>2/20/2026</a:t>
            </a:fld>
            <a:endParaRPr lang="en-GB">
              <a:latin typeface="Arial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766763"/>
            <a:ext cx="5548312" cy="3840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42743" tIns="71373" rIns="142743" bIns="71373" rtlCol="0" anchor="ctr"/>
          <a:lstStyle/>
          <a:p>
            <a:pPr lvl="0"/>
            <a:endParaRPr lang="en-GB" noProof="0">
              <a:latin typeface="Arial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709753" y="4861443"/>
            <a:ext cx="5684559" cy="4605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9" tIns="49526" rIns="99049" bIns="4952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0"/>
            <a:r>
              <a:rPr lang="en-US" noProof="0"/>
              <a:t>Second level</a:t>
            </a:r>
          </a:p>
          <a:p>
            <a:pPr lvl="0"/>
            <a:r>
              <a:rPr lang="en-US" noProof="0"/>
              <a:t>Third level</a:t>
            </a:r>
          </a:p>
          <a:p>
            <a:pPr lvl="0"/>
            <a:r>
              <a:rPr lang="en-US" noProof="0"/>
              <a:t>Fourth level</a:t>
            </a:r>
          </a:p>
          <a:p>
            <a:pPr lvl="0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721264"/>
            <a:ext cx="3079409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9" tIns="49526" rIns="99049" bIns="49526" numCol="1" anchor="b" anchorCtr="0" compatLnSpc="1">
            <a:prstTxWarp prst="textNoShape">
              <a:avLst/>
            </a:prstTxWarp>
          </a:bodyPr>
          <a:lstStyle>
            <a:lvl1pPr defTabSz="650270">
              <a:defRPr sz="1200">
                <a:latin typeface="Calibri" pitchFamily="34" charset="0"/>
              </a:defRPr>
            </a:lvl1pPr>
          </a:lstStyle>
          <a:p>
            <a:endParaRPr lang="en-GB"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4024656" y="9721264"/>
            <a:ext cx="3077772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9" tIns="49526" rIns="99049" bIns="49526" numCol="1" anchor="b" anchorCtr="0" compatLnSpc="1">
            <a:prstTxWarp prst="textNoShape">
              <a:avLst/>
            </a:prstTxWarp>
          </a:bodyPr>
          <a:lstStyle>
            <a:lvl1pPr algn="r" defTabSz="650270">
              <a:defRPr sz="1200">
                <a:latin typeface="Calibri" pitchFamily="34" charset="0"/>
              </a:defRPr>
            </a:lvl1pPr>
          </a:lstStyle>
          <a:p>
            <a:fld id="{DFA6DC0F-00C0-48CB-BFD3-E923E37ECD77}" type="slidenum">
              <a:rPr lang="en-GB">
                <a:latin typeface="Arial"/>
              </a:rPr>
              <a:pPr/>
              <a:t>‹#›</a:t>
            </a:fld>
            <a:endParaRPr lang="en-GB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97114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698373" indent="-268605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74420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04188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933956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48840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608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376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144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47A744-31AC-DB91-8EC4-6281219D48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18E3783B-A21F-94D4-DAB9-6568441F16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52BDCBBC-E10B-EF51-1741-A339C04CBF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8F9EE0A2-1D5B-0CB0-D1C0-9B447D7EBF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A6DC0F-00C0-48CB-BFD3-E923E37ECD77}" type="slidenum">
              <a:rPr lang="en-GB" smtClean="0">
                <a:latin typeface="Arial"/>
              </a:rPr>
              <a:pPr/>
              <a:t>1</a:t>
            </a:fld>
            <a:endParaRPr lang="en-GB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80603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1743E4-23E5-4572-A0B3-836ADD8B67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C022BBEA-0030-A10F-B49D-10FB3E61ED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526BA6FE-4693-EADF-6093-BC16F0A1FC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3C2EE800-E9A8-CB1C-4831-B5EE56B590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A6DC0F-00C0-48CB-BFD3-E923E37ECD77}" type="slidenum">
              <a:rPr lang="en-GB" smtClean="0">
                <a:latin typeface="Arial"/>
              </a:rPr>
              <a:pPr/>
              <a:t>2</a:t>
            </a:fld>
            <a:endParaRPr lang="en-GB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0803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7492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270" imgH="270" progId="TCLayout.ActiveDocument.1">
                  <p:embed/>
                </p:oleObj>
              </mc:Choice>
              <mc:Fallback>
                <p:oleObj name="think-cellスライド" r:id="rId3" imgW="270" imgH="270" progId="TCLayout.ActiveDocument.1">
                  <p:embed/>
                  <p:pic>
                    <p:nvPicPr>
                      <p:cNvPr id="11" name="オブジェクト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Box 9"/>
          <p:cNvSpPr txBox="1">
            <a:spLocks noChangeArrowheads="1"/>
          </p:cNvSpPr>
          <p:nvPr userDrawn="1"/>
        </p:nvSpPr>
        <p:spPr bwMode="gray">
          <a:xfrm>
            <a:off x="966523" y="3359659"/>
            <a:ext cx="5310749" cy="228332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ja-JP" altLang="en-US" sz="1400" kern="120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charset="0"/>
              </a:rPr>
              <a:t>一般社団法人ソーシャル・イノベーション・パートナーズ（</a:t>
            </a:r>
            <a:r>
              <a:rPr lang="en-US" altLang="ja-JP" sz="1400" kern="120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charset="0"/>
              </a:rPr>
              <a:t>SIP</a:t>
            </a:r>
            <a:r>
              <a:rPr lang="ja-JP" altLang="en-US" sz="1400" kern="120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charset="0"/>
              </a:rPr>
              <a:t>）</a:t>
            </a:r>
            <a:endParaRPr lang="en-US" altLang="ja-JP" sz="1400" kern="120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charset="0"/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vert="horz"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1pPr>
          </a:lstStyle>
          <a:p>
            <a:r>
              <a:rPr kumimoji="1" lang="ja-JP" altLang="en-US"/>
              <a:t>表紙タイトル</a:t>
            </a:r>
            <a:endParaRPr lang="en-US" altLang="ja-JP"/>
          </a:p>
        </p:txBody>
      </p:sp>
      <p:pic>
        <p:nvPicPr>
          <p:cNvPr id="3" name="図 2" descr="ロゴ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66BC4B63-B12D-59A8-05D2-464ED3DB065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523" y="589782"/>
            <a:ext cx="1638223" cy="985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414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205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270" imgH="270" progId="TCLayout.ActiveDocument.1">
                  <p:embed/>
                </p:oleObj>
              </mc:Choice>
              <mc:Fallback>
                <p:oleObj name="think-cellスライド" r:id="rId3" imgW="270" imgH="270" progId="TCLayout.ActiveDocument.1">
                  <p:embed/>
                  <p:pic>
                    <p:nvPicPr>
                      <p:cNvPr id="7" name="オブジェクト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51928" y="119866"/>
            <a:ext cx="9242405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51929" y="1689637"/>
            <a:ext cx="9066013" cy="4598296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Arial" panose="020B0604020202020204" pitchFamily="34" charset="0"/>
              <a:buChar char="•"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游ゴシック" panose="020B0400000000000000" pitchFamily="50" charset="-128"/>
              <a:buChar char="-"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Wingdings" panose="05000000000000000000" pitchFamily="2" charset="2"/>
              <a:buChar char="Ø"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1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9667134" y="6593573"/>
            <a:ext cx="180000" cy="169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90140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0841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270" imgH="270" progId="TCLayout.ActiveDocument.1">
                  <p:embed/>
                </p:oleObj>
              </mc:Choice>
              <mc:Fallback>
                <p:oleObj name="think-cellスライド" r:id="rId3" imgW="270" imgH="270" progId="TCLayout.ActiveDocument.1">
                  <p:embed/>
                  <p:pic>
                    <p:nvPicPr>
                      <p:cNvPr id="12" name="オブジェクト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5925" y="12012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br>
              <a:rPr lang="en-US" altLang="ja-JP"/>
            </a:br>
            <a:r>
              <a:rPr lang="ja-JP" altLang="en-US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1pPr>
            <a:lvl2pPr marL="171450" indent="-171450">
              <a:lnSpc>
                <a:spcPct val="106000"/>
              </a:lnSpc>
              <a:spcBef>
                <a:spcPts val="1056"/>
              </a:spcBef>
              <a:buFont typeface="Arial" panose="020B0604020202020204" pitchFamily="34" charset="0"/>
              <a:buChar char="•"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游ゴシック" panose="020B0400000000000000" pitchFamily="50" charset="-128"/>
              <a:buChar char="-"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1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>
          <a:xfrm>
            <a:off x="9642082" y="6606099"/>
            <a:ext cx="180000" cy="169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14" name="フッター プレースホルダ 10"/>
          <p:cNvSpPr txBox="1">
            <a:spLocks/>
          </p:cNvSpPr>
          <p:nvPr userDrawn="1"/>
        </p:nvSpPr>
        <p:spPr bwMode="gray">
          <a:xfrm>
            <a:off x="8095844" y="-942"/>
            <a:ext cx="1873347" cy="1735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100" i="1">
                <a:solidFill>
                  <a:srgbClr val="FF0000"/>
                </a:solidFill>
                <a:latin typeface="ＭＳ Ｐゴシック" panose="020B0600070205080204" pitchFamily="50" charset="-128"/>
              </a:rPr>
              <a:t>For Discussion Purpose Only</a:t>
            </a:r>
          </a:p>
        </p:txBody>
      </p:sp>
      <p:sp>
        <p:nvSpPr>
          <p:cNvPr id="15" name="Red stripe"/>
          <p:cNvSpPr/>
          <p:nvPr userDrawn="1"/>
        </p:nvSpPr>
        <p:spPr>
          <a:xfrm>
            <a:off x="414049" y="782689"/>
            <a:ext cx="9144000" cy="45719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rgbClr val="00A1DE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コンテンツ プレースホルダ 2"/>
          <p:cNvSpPr>
            <a:spLocks noGrp="1"/>
          </p:cNvSpPr>
          <p:nvPr>
            <p:ph idx="17"/>
          </p:nvPr>
        </p:nvSpPr>
        <p:spPr bwMode="gray">
          <a:xfrm>
            <a:off x="5140897" y="1486101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1pPr>
            <a:lvl2pPr marL="171450" indent="-171450">
              <a:lnSpc>
                <a:spcPct val="106000"/>
              </a:lnSpc>
              <a:spcBef>
                <a:spcPts val="1056"/>
              </a:spcBef>
              <a:buFont typeface="Arial" panose="020B0604020202020204" pitchFamily="34" charset="0"/>
              <a:buChar char="•"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游ゴシック" panose="020B0400000000000000" pitchFamily="50" charset="-128"/>
              <a:buChar char="-"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 sz="1200" baseline="0"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1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7297439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B7993ADD-BDA4-6947-AEE5-513D73B98D4A}"/>
              </a:ext>
            </a:extLst>
          </p:cNvPr>
          <p:cNvSpPr/>
          <p:nvPr userDrawn="1"/>
        </p:nvSpPr>
        <p:spPr>
          <a:xfrm>
            <a:off x="0" y="6571365"/>
            <a:ext cx="9906000" cy="286635"/>
          </a:xfrm>
          <a:prstGeom prst="rect">
            <a:avLst/>
          </a:prstGeom>
          <a:solidFill>
            <a:srgbClr val="2E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44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BCE7CE0D-D4B3-CD4C-B79B-CFD982427A74}"/>
              </a:ext>
            </a:extLst>
          </p:cNvPr>
          <p:cNvSpPr/>
          <p:nvPr userDrawn="1"/>
        </p:nvSpPr>
        <p:spPr>
          <a:xfrm>
            <a:off x="0" y="0"/>
            <a:ext cx="7969827" cy="931056"/>
          </a:xfrm>
          <a:prstGeom prst="rect">
            <a:avLst/>
          </a:prstGeom>
          <a:solidFill>
            <a:srgbClr val="2E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44"/>
          </a:p>
        </p:txBody>
      </p:sp>
      <p:sp>
        <p:nvSpPr>
          <p:cNvPr id="15" name="直角三角形 14">
            <a:extLst>
              <a:ext uri="{FF2B5EF4-FFF2-40B4-BE49-F238E27FC236}">
                <a16:creationId xmlns:a16="http://schemas.microsoft.com/office/drawing/2014/main" id="{66ACDD0C-B741-BF47-8055-A463E79BCDFD}"/>
              </a:ext>
            </a:extLst>
          </p:cNvPr>
          <p:cNvSpPr/>
          <p:nvPr userDrawn="1"/>
        </p:nvSpPr>
        <p:spPr>
          <a:xfrm rot="5400000">
            <a:off x="7882540" y="87287"/>
            <a:ext cx="931055" cy="756482"/>
          </a:xfrm>
          <a:prstGeom prst="rtTriangle">
            <a:avLst/>
          </a:prstGeom>
          <a:solidFill>
            <a:srgbClr val="2E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44"/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E362D9EA-BF2B-4F54-B6BA-0C76496EF7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631" y="1268856"/>
            <a:ext cx="8543925" cy="4351338"/>
          </a:xfrm>
        </p:spPr>
        <p:txBody>
          <a:bodyPr/>
          <a:lstStyle>
            <a:lvl1pPr marL="185738" indent="-185738">
              <a:buFont typeface="Wingdings" panose="05000000000000000000" pitchFamily="2" charset="2"/>
              <a:buChar char="l"/>
              <a:defRPr b="1" i="0">
                <a:solidFill>
                  <a:srgbClr val="00206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>
              <a:defRPr b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928688" indent="-185738">
              <a:buFont typeface="Wingdings" panose="05000000000000000000" pitchFamily="2" charset="2"/>
              <a:buChar char="Ø"/>
              <a:defRPr b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>
              <a:defRPr b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>
              <a:defRPr b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EA344675-18B2-4F83-A122-0662FA36B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31188" y="6532119"/>
            <a:ext cx="222885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1F6A0AC-F2C6-4C21-B4A0-CF4BD5AB1286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4" name="タイトル 13">
            <a:extLst>
              <a:ext uri="{FF2B5EF4-FFF2-40B4-BE49-F238E27FC236}">
                <a16:creationId xmlns:a16="http://schemas.microsoft.com/office/drawing/2014/main" id="{FFB59D12-01FD-40A6-8D92-9603E6FDA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631" y="293539"/>
            <a:ext cx="8543925" cy="499732"/>
          </a:xfrm>
        </p:spPr>
        <p:txBody>
          <a:bodyPr>
            <a:noAutofit/>
          </a:bodyPr>
          <a:lstStyle>
            <a:lvl1pPr>
              <a:defRPr sz="2600" b="1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1" name="フッター プレースホルダー 4">
            <a:extLst>
              <a:ext uri="{FF2B5EF4-FFF2-40B4-BE49-F238E27FC236}">
                <a16:creationId xmlns:a16="http://schemas.microsoft.com/office/drawing/2014/main" id="{266C74D6-438D-49D4-818C-19AEE3DA30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1363" y="6532119"/>
            <a:ext cx="334327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ja-JP" altLang="en-US"/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AF2E0539-A270-07B6-E57F-47D2D42ECE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68335" y="117793"/>
            <a:ext cx="883193" cy="734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9349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0DE3237F-18DF-B044-8B92-F3F040E3A689}"/>
              </a:ext>
            </a:extLst>
          </p:cNvPr>
          <p:cNvSpPr/>
          <p:nvPr userDrawn="1"/>
        </p:nvSpPr>
        <p:spPr>
          <a:xfrm>
            <a:off x="0" y="6571365"/>
            <a:ext cx="9906000" cy="286635"/>
          </a:xfrm>
          <a:prstGeom prst="rect">
            <a:avLst/>
          </a:prstGeom>
          <a:solidFill>
            <a:srgbClr val="2E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44"/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75B5599E-40D1-2D46-BFE0-5F784CAEDD5B}"/>
              </a:ext>
            </a:extLst>
          </p:cNvPr>
          <p:cNvSpPr/>
          <p:nvPr userDrawn="1"/>
        </p:nvSpPr>
        <p:spPr>
          <a:xfrm>
            <a:off x="0" y="0"/>
            <a:ext cx="7969827" cy="931056"/>
          </a:xfrm>
          <a:prstGeom prst="rect">
            <a:avLst/>
          </a:prstGeom>
          <a:solidFill>
            <a:srgbClr val="2E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44"/>
          </a:p>
        </p:txBody>
      </p:sp>
      <p:sp>
        <p:nvSpPr>
          <p:cNvPr id="13" name="直角三角形 12">
            <a:extLst>
              <a:ext uri="{FF2B5EF4-FFF2-40B4-BE49-F238E27FC236}">
                <a16:creationId xmlns:a16="http://schemas.microsoft.com/office/drawing/2014/main" id="{7BD76297-E9AF-A140-9C9B-330F13C90E5F}"/>
              </a:ext>
            </a:extLst>
          </p:cNvPr>
          <p:cNvSpPr/>
          <p:nvPr userDrawn="1"/>
        </p:nvSpPr>
        <p:spPr>
          <a:xfrm rot="5400000">
            <a:off x="7882540" y="87287"/>
            <a:ext cx="931055" cy="756482"/>
          </a:xfrm>
          <a:prstGeom prst="rtTriangle">
            <a:avLst/>
          </a:prstGeom>
          <a:solidFill>
            <a:srgbClr val="2E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44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58149EFB-8DCB-44D9-92A0-BD7E4520CF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0566" y="5334623"/>
            <a:ext cx="3343275" cy="1016000"/>
          </a:xfrm>
          <a:prstGeom prst="rect">
            <a:avLst/>
          </a:prstGeom>
        </p:spPr>
      </p:pic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6646DE7B-591E-426E-9A0A-B83A8B3FA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1363" y="6532119"/>
            <a:ext cx="334327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516272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7"/>
          <p:cNvGrpSpPr/>
          <p:nvPr userDrawn="1"/>
        </p:nvGrpSpPr>
        <p:grpSpPr>
          <a:xfrm>
            <a:off x="3" y="1"/>
            <a:ext cx="8726313" cy="576000"/>
            <a:chOff x="1" y="0"/>
            <a:chExt cx="8055058" cy="931059"/>
          </a:xfrm>
        </p:grpSpPr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5B5599E-40D1-2D46-BFE0-5F784CAEDD5B}"/>
                </a:ext>
              </a:extLst>
            </p:cNvPr>
            <p:cNvSpPr/>
            <p:nvPr userDrawn="1"/>
          </p:nvSpPr>
          <p:spPr>
            <a:xfrm>
              <a:off x="1" y="0"/>
              <a:ext cx="7356764" cy="931056"/>
            </a:xfrm>
            <a:prstGeom prst="rect">
              <a:avLst/>
            </a:prstGeom>
            <a:solidFill>
              <a:srgbClr val="2E8A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097"/>
            </a:p>
          </p:txBody>
        </p:sp>
        <p:sp>
          <p:nvSpPr>
            <p:cNvPr id="10" name="直角三角形 9">
              <a:extLst>
                <a:ext uri="{FF2B5EF4-FFF2-40B4-BE49-F238E27FC236}">
                  <a16:creationId xmlns:a16="http://schemas.microsoft.com/office/drawing/2014/main" id="{7BD76297-E9AF-A140-9C9B-330F13C90E5F}"/>
                </a:ext>
              </a:extLst>
            </p:cNvPr>
            <p:cNvSpPr/>
            <p:nvPr userDrawn="1"/>
          </p:nvSpPr>
          <p:spPr>
            <a:xfrm rot="5400000">
              <a:off x="7240386" y="116386"/>
              <a:ext cx="931055" cy="698291"/>
            </a:xfrm>
            <a:prstGeom prst="rtTriangle">
              <a:avLst/>
            </a:prstGeom>
            <a:solidFill>
              <a:srgbClr val="2E8A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097"/>
            </a:p>
          </p:txBody>
        </p:sp>
      </p:grp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0DE3237F-18DF-B044-8B92-F3F040E3A689}"/>
              </a:ext>
            </a:extLst>
          </p:cNvPr>
          <p:cNvSpPr/>
          <p:nvPr userDrawn="1"/>
        </p:nvSpPr>
        <p:spPr>
          <a:xfrm>
            <a:off x="7181850" y="6642000"/>
            <a:ext cx="2724150" cy="216010"/>
          </a:xfrm>
          <a:prstGeom prst="rect">
            <a:avLst/>
          </a:prstGeom>
          <a:solidFill>
            <a:srgbClr val="2E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097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584300" y="1196976"/>
            <a:ext cx="8697416" cy="1511300"/>
          </a:xfrm>
          <a:prstGeom prst="rect">
            <a:avLst/>
          </a:prstGeom>
        </p:spPr>
        <p:txBody>
          <a:bodyPr anchor="b"/>
          <a:lstStyle>
            <a:lvl1pPr algn="l">
              <a:defRPr sz="2600">
                <a:latin typeface="+mn-ea"/>
                <a:ea typeface="+mn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584300" y="2960691"/>
            <a:ext cx="8697416" cy="74420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latin typeface="+mn-ea"/>
                <a:ea typeface="+mn-ea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pic>
        <p:nvPicPr>
          <p:cNvPr id="17" name="図 16">
            <a:extLst>
              <a:ext uri="{FF2B5EF4-FFF2-40B4-BE49-F238E27FC236}">
                <a16:creationId xmlns:a16="http://schemas.microsoft.com/office/drawing/2014/main" id="{58149EFB-8DCB-44D9-92A0-BD7E4520CF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548" y="5257800"/>
            <a:ext cx="3343275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158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  <p15:guide id="2" pos="7196">
          <p15:clr>
            <a:srgbClr val="FBAE40"/>
          </p15:clr>
        </p15:guide>
        <p15:guide id="3" pos="453">
          <p15:clr>
            <a:srgbClr val="FBAE40"/>
          </p15:clr>
        </p15:guide>
        <p15:guide id="4" orient="horz" pos="3317">
          <p15:clr>
            <a:srgbClr val="FBAE40"/>
          </p15:clr>
        </p15:guide>
        <p15:guide id="5" orient="horz" pos="1706">
          <p15:clr>
            <a:srgbClr val="FBAE40"/>
          </p15:clr>
        </p15:guide>
        <p15:guide id="6" orient="horz" pos="1865">
          <p15:clr>
            <a:srgbClr val="FBAE40"/>
          </p15:clr>
        </p15:guide>
        <p15:guide id="7" orient="horz" pos="234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本文(プレゼンテーション用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グループ化 16"/>
          <p:cNvGrpSpPr/>
          <p:nvPr userDrawn="1"/>
        </p:nvGrpSpPr>
        <p:grpSpPr>
          <a:xfrm>
            <a:off x="3" y="1"/>
            <a:ext cx="8726313" cy="863996"/>
            <a:chOff x="1" y="0"/>
            <a:chExt cx="8055058" cy="931059"/>
          </a:xfrm>
        </p:grpSpPr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75B5599E-40D1-2D46-BFE0-5F784CAEDD5B}"/>
                </a:ext>
              </a:extLst>
            </p:cNvPr>
            <p:cNvSpPr/>
            <p:nvPr userDrawn="1"/>
          </p:nvSpPr>
          <p:spPr>
            <a:xfrm>
              <a:off x="1" y="0"/>
              <a:ext cx="7356764" cy="931056"/>
            </a:xfrm>
            <a:prstGeom prst="rect">
              <a:avLst/>
            </a:prstGeom>
            <a:solidFill>
              <a:srgbClr val="2E8A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097"/>
            </a:p>
          </p:txBody>
        </p:sp>
        <p:sp>
          <p:nvSpPr>
            <p:cNvPr id="16" name="直角三角形 15">
              <a:extLst>
                <a:ext uri="{FF2B5EF4-FFF2-40B4-BE49-F238E27FC236}">
                  <a16:creationId xmlns:a16="http://schemas.microsoft.com/office/drawing/2014/main" id="{7BD76297-E9AF-A140-9C9B-330F13C90E5F}"/>
                </a:ext>
              </a:extLst>
            </p:cNvPr>
            <p:cNvSpPr/>
            <p:nvPr userDrawn="1"/>
          </p:nvSpPr>
          <p:spPr>
            <a:xfrm rot="5400000">
              <a:off x="7240386" y="116386"/>
              <a:ext cx="931055" cy="698291"/>
            </a:xfrm>
            <a:prstGeom prst="rtTriangle">
              <a:avLst/>
            </a:prstGeom>
            <a:solidFill>
              <a:srgbClr val="2E8A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097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730" y="249817"/>
            <a:ext cx="7369789" cy="396000"/>
          </a:xfrm>
          <a:prstGeom prst="rect">
            <a:avLst/>
          </a:prstGeom>
        </p:spPr>
        <p:txBody>
          <a:bodyPr anchor="t"/>
          <a:lstStyle>
            <a:lvl1pPr>
              <a:defRPr sz="2275" b="1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853" y="1113810"/>
            <a:ext cx="8736542" cy="5040312"/>
          </a:xfrm>
          <a:prstGeom prst="rect">
            <a:avLst/>
          </a:prstGeom>
        </p:spPr>
        <p:txBody>
          <a:bodyPr/>
          <a:lstStyle>
            <a:lvl1pPr marL="185738" indent="-185738">
              <a:buClr>
                <a:srgbClr val="002060"/>
              </a:buClr>
              <a:buFont typeface="Wingdings" panose="05000000000000000000" pitchFamily="2" charset="2"/>
              <a:buChar char="l"/>
              <a:defRPr sz="1950" b="1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  <a:lvl2pPr>
              <a:buClr>
                <a:srgbClr val="002060"/>
              </a:buClr>
              <a:defRPr sz="1625" b="0">
                <a:latin typeface="メイリオ" panose="020B0604030504040204" pitchFamily="50" charset="-128"/>
                <a:ea typeface="メイリオ" panose="020B0604030504040204" pitchFamily="50" charset="-128"/>
              </a:defRPr>
            </a:lvl2pPr>
            <a:lvl3pPr marL="928688" indent="-185738">
              <a:buClr>
                <a:srgbClr val="002060"/>
              </a:buClr>
              <a:buFont typeface="Wingdings" panose="05000000000000000000" pitchFamily="2" charset="2"/>
              <a:buChar char="Ø"/>
              <a:defRPr sz="1463" b="0">
                <a:latin typeface="メイリオ" panose="020B0604030504040204" pitchFamily="50" charset="-128"/>
                <a:ea typeface="メイリオ" panose="020B0604030504040204" pitchFamily="50" charset="-128"/>
              </a:defRPr>
            </a:lvl3pPr>
            <a:lvl4pPr>
              <a:buClr>
                <a:srgbClr val="002060"/>
              </a:buClr>
              <a:defRPr sz="1300" b="0">
                <a:latin typeface="メイリオ" panose="020B0604030504040204" pitchFamily="50" charset="-128"/>
                <a:ea typeface="メイリオ" panose="020B0604030504040204" pitchFamily="50" charset="-128"/>
              </a:defRPr>
            </a:lvl4pPr>
            <a:lvl5pPr>
              <a:buClr>
                <a:srgbClr val="002060"/>
              </a:buClr>
              <a:defRPr sz="1300" b="0"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D03DAB65-56EB-83BF-C4C3-7FD1D02A964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68335" y="117793"/>
            <a:ext cx="883193" cy="734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125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61">
          <p15:clr>
            <a:srgbClr val="FBAE40"/>
          </p15:clr>
        </p15:guide>
        <p15:guide id="3" pos="3659">
          <p15:clr>
            <a:srgbClr val="FBAE40"/>
          </p15:clr>
        </p15:guide>
        <p15:guide id="4" pos="7227">
          <p15:clr>
            <a:srgbClr val="FBAE40"/>
          </p15:clr>
        </p15:guide>
        <p15:guide id="5" orient="horz" pos="4020">
          <p15:clr>
            <a:srgbClr val="FBAE40"/>
          </p15:clr>
        </p15:guide>
        <p15:guide id="6" pos="4021">
          <p15:clr>
            <a:srgbClr val="FBAE40"/>
          </p15:clr>
        </p15:guide>
        <p15:guide id="7" pos="5533">
          <p15:clr>
            <a:srgbClr val="FBAE40"/>
          </p15:clr>
        </p15:guide>
        <p15:guide id="8" pos="2163">
          <p15:clr>
            <a:srgbClr val="FBAE40"/>
          </p15:clr>
        </p15:guide>
        <p15:guide id="9" orient="horz" pos="300">
          <p15:clr>
            <a:srgbClr val="FBAE40"/>
          </p15:clr>
        </p15:guide>
        <p15:guide id="10" orient="horz" pos="1207">
          <p15:clr>
            <a:srgbClr val="FBAE40"/>
          </p15:clr>
        </p15:guide>
        <p15:guide id="11" orient="horz" pos="3113">
          <p15:clr>
            <a:srgbClr val="FBAE40"/>
          </p15:clr>
        </p15:guide>
        <p15:guide id="12" orient="horz" pos="3566">
          <p15:clr>
            <a:srgbClr val="FBAE40"/>
          </p15:clr>
        </p15:guide>
        <p15:guide id="13" pos="7439">
          <p15:clr>
            <a:srgbClr val="FBAE40"/>
          </p15:clr>
        </p15:guide>
        <p15:guide id="14" orient="horz" pos="754">
          <p15:clr>
            <a:srgbClr val="FBAE40"/>
          </p15:clr>
        </p15:guide>
        <p15:guide id="15" orient="horz" pos="84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2033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10" imgW="270" imgH="270" progId="TCLayout.ActiveDocument.1">
                  <p:embed/>
                </p:oleObj>
              </mc:Choice>
              <mc:Fallback>
                <p:oleObj name="think-cellスライド" r:id="rId10" imgW="270" imgH="270" progId="TCLayout.ActiveDocument.1">
                  <p:embed/>
                  <p:pic>
                    <p:nvPicPr>
                      <p:cNvPr id="11" name="オブジェクト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9585715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14" name="Text Box 37"/>
          <p:cNvSpPr txBox="1">
            <a:spLocks noChangeArrowheads="1"/>
          </p:cNvSpPr>
          <p:nvPr userDrawn="1"/>
        </p:nvSpPr>
        <p:spPr bwMode="gray">
          <a:xfrm>
            <a:off x="5396400" y="6588000"/>
            <a:ext cx="4068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900" kern="1200">
                <a:solidFill>
                  <a:schemeClr val="tx2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26. For information, contact Social</a:t>
            </a:r>
            <a:r>
              <a:rPr lang="en-US" altLang="ja-JP" sz="900" kern="1200" baseline="0">
                <a:solidFill>
                  <a:schemeClr val="tx2"/>
                </a:solidFill>
                <a:latin typeface="Arial" charset="0"/>
                <a:ea typeface="ＭＳ Ｐゴシック" pitchFamily="50" charset="-128"/>
                <a:cs typeface="Arial" charset="0"/>
              </a:rPr>
              <a:t> Innovation Partners</a:t>
            </a:r>
            <a:endParaRPr lang="en-US" altLang="ja-JP" sz="900" kern="1200">
              <a:solidFill>
                <a:schemeClr val="tx2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9" name="Red stripe"/>
          <p:cNvSpPr/>
          <p:nvPr userDrawn="1"/>
        </p:nvSpPr>
        <p:spPr>
          <a:xfrm>
            <a:off x="414049" y="782689"/>
            <a:ext cx="9144000" cy="45719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rgbClr val="00A1DE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79974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9" r:id="rId2"/>
    <p:sldLayoutId id="2147483898" r:id="rId3"/>
    <p:sldLayoutId id="2147483911" r:id="rId4"/>
    <p:sldLayoutId id="2147483912" r:id="rId5"/>
    <p:sldLayoutId id="2147483913" r:id="rId6"/>
    <p:sldLayoutId id="2147483915" r:id="rId7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游ゴシック" panose="020B0400000000000000" pitchFamily="50" charset="-128"/>
          <a:ea typeface="游ゴシック" panose="020B0400000000000000" pitchFamily="50" charset="-128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游ゴシック" panose="020B0400000000000000" pitchFamily="50" charset="-128"/>
          <a:ea typeface="游ゴシック" panose="020B0400000000000000" pitchFamily="50" charset="-128"/>
          <a:cs typeface="Arial" pitchFamily="34" charset="0"/>
        </a:defRPr>
      </a:lvl1pPr>
      <a:lvl2pPr marL="171450" indent="-171450" algn="l" eaLnBrk="1" hangingPunct="1">
        <a:lnSpc>
          <a:spcPct val="106000"/>
        </a:lnSpc>
        <a:spcBef>
          <a:spcPts val="1056"/>
        </a:spcBef>
        <a:buFont typeface="Arial" panose="020B0604020202020204" pitchFamily="34" charset="0"/>
        <a:buChar char="•"/>
        <a:defRPr kumimoji="1" sz="1200">
          <a:solidFill>
            <a:schemeClr val="tx1"/>
          </a:solidFill>
          <a:latin typeface="游ゴシック" panose="020B0400000000000000" pitchFamily="50" charset="-128"/>
          <a:ea typeface="游ゴシック" panose="020B0400000000000000" pitchFamily="50" charset="-128"/>
          <a:cs typeface="Arial" pitchFamily="34" charset="0"/>
        </a:defRPr>
      </a:lvl2pPr>
      <a:lvl3pPr marL="344250" indent="-171450" algn="l" eaLnBrk="1" hangingPunct="1">
        <a:lnSpc>
          <a:spcPct val="106000"/>
        </a:lnSpc>
        <a:spcBef>
          <a:spcPts val="480"/>
        </a:spcBef>
        <a:buFont typeface="游ゴシック" panose="020B0400000000000000" pitchFamily="50" charset="-128"/>
        <a:buChar char="-"/>
        <a:defRPr kumimoji="1" sz="1200">
          <a:solidFill>
            <a:schemeClr val="tx1"/>
          </a:solidFill>
          <a:latin typeface="游ゴシック" panose="020B0400000000000000" pitchFamily="50" charset="-128"/>
          <a:ea typeface="游ゴシック" panose="020B0400000000000000" pitchFamily="50" charset="-128"/>
          <a:cs typeface="Arial" pitchFamily="34" charset="0"/>
        </a:defRPr>
      </a:lvl3pPr>
      <a:lvl4pPr marL="517050" indent="-171450" algn="l" eaLnBrk="1" hangingPunct="1">
        <a:lnSpc>
          <a:spcPct val="106000"/>
        </a:lnSpc>
        <a:spcBef>
          <a:spcPts val="240"/>
        </a:spcBef>
        <a:buFont typeface="Wingdings" panose="05000000000000000000" pitchFamily="2" charset="2"/>
        <a:buChar char="Ø"/>
        <a:defRPr kumimoji="1" sz="1200">
          <a:solidFill>
            <a:schemeClr val="tx1"/>
          </a:solidFill>
          <a:latin typeface="游ゴシック" panose="020B0400000000000000" pitchFamily="50" charset="-128"/>
          <a:ea typeface="游ゴシック" panose="020B0400000000000000" pitchFamily="50" charset="-128"/>
          <a:cs typeface="Arial" pitchFamily="34" charset="0"/>
        </a:defRPr>
      </a:lvl4pPr>
    </p:bodyStyle>
    <p:otherStyle/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2208B7-A514-15E2-606A-BCDDFBA06E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BC0C048-4AF9-6B5B-484B-2EA94CBE4A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z="1300"/>
              <a:t>様式</a:t>
            </a:r>
            <a:r>
              <a:rPr lang="en-US" altLang="ja-JP" sz="1300"/>
              <a:t>8</a:t>
            </a:r>
            <a:r>
              <a:rPr lang="ja-JP" altLang="en-US" sz="1300"/>
              <a:t>：ロジックモデル</a:t>
            </a:r>
            <a:br>
              <a:rPr lang="en-US" altLang="ja-JP" sz="1300"/>
            </a:br>
            <a:r>
              <a:rPr lang="ja-JP" altLang="en-US"/>
              <a:t>目指す社会の姿</a:t>
            </a:r>
            <a:endParaRPr lang="ja-JP" altLang="en-US" sz="1625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01A854FB-247F-6CA4-BCE5-9486A652C55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354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B5F9AF53-F858-A440-8117-724A96330F6D}" type="slidenum">
              <a:rPr kumimoji="1" lang="ja-JP" altLang="en-US" smtClean="0"/>
              <a:pPr/>
              <a:t>1</a:t>
            </a:fld>
            <a:endParaRPr kumimoji="1" lang="ja-JP" altLang="en-US" sz="853"/>
          </a:p>
        </p:txBody>
      </p:sp>
      <p:graphicFrame>
        <p:nvGraphicFramePr>
          <p:cNvPr id="5" name="表 4">
            <a:extLst>
              <a:ext uri="{FF2B5EF4-FFF2-40B4-BE49-F238E27FC236}">
                <a16:creationId xmlns:a16="http://schemas.microsoft.com/office/drawing/2014/main" id="{ACE75F84-6D10-B542-9F8E-BDF860C4BC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3622035"/>
              </p:ext>
            </p:extLst>
          </p:nvPr>
        </p:nvGraphicFramePr>
        <p:xfrm>
          <a:off x="416999" y="1509808"/>
          <a:ext cx="9128784" cy="428458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76588">
                  <a:extLst>
                    <a:ext uri="{9D8B030D-6E8A-4147-A177-3AD203B41FA5}">
                      <a16:colId xmlns:a16="http://schemas.microsoft.com/office/drawing/2014/main" val="1107426186"/>
                    </a:ext>
                  </a:extLst>
                </a:gridCol>
                <a:gridCol w="2189176">
                  <a:extLst>
                    <a:ext uri="{9D8B030D-6E8A-4147-A177-3AD203B41FA5}">
                      <a16:colId xmlns:a16="http://schemas.microsoft.com/office/drawing/2014/main" val="1188686188"/>
                    </a:ext>
                  </a:extLst>
                </a:gridCol>
                <a:gridCol w="2158079">
                  <a:extLst>
                    <a:ext uri="{9D8B030D-6E8A-4147-A177-3AD203B41FA5}">
                      <a16:colId xmlns:a16="http://schemas.microsoft.com/office/drawing/2014/main" val="3429660047"/>
                    </a:ext>
                  </a:extLst>
                </a:gridCol>
                <a:gridCol w="2143476">
                  <a:extLst>
                    <a:ext uri="{9D8B030D-6E8A-4147-A177-3AD203B41FA5}">
                      <a16:colId xmlns:a16="http://schemas.microsoft.com/office/drawing/2014/main" val="1578500198"/>
                    </a:ext>
                  </a:extLst>
                </a:gridCol>
                <a:gridCol w="2161465">
                  <a:extLst>
                    <a:ext uri="{9D8B030D-6E8A-4147-A177-3AD203B41FA5}">
                      <a16:colId xmlns:a16="http://schemas.microsoft.com/office/drawing/2014/main" val="1325922300"/>
                    </a:ext>
                  </a:extLst>
                </a:gridCol>
              </a:tblGrid>
              <a:tr h="192289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ja-JP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現状（</a:t>
                      </a:r>
                      <a:r>
                        <a:rPr lang="en-US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2026</a:t>
                      </a:r>
                      <a:r>
                        <a:rPr lang="ja-JP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年）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/>
                        <a:ea typeface="游ゴシック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ja-JP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短期（</a:t>
                      </a:r>
                      <a:r>
                        <a:rPr lang="en-US" altLang="ja-JP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3</a:t>
                      </a:r>
                      <a:r>
                        <a:rPr lang="ja-JP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年後）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ja-JP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中期（</a:t>
                      </a:r>
                      <a:r>
                        <a:rPr lang="en-US" altLang="ja-JP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5</a:t>
                      </a:r>
                      <a:r>
                        <a:rPr lang="ja-JP" altLang="en-US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～</a:t>
                      </a:r>
                      <a:r>
                        <a:rPr lang="en-US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10</a:t>
                      </a:r>
                      <a:r>
                        <a:rPr lang="ja-JP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年後）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/>
                        <a:ea typeface="游ゴシック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ja-JP" altLang="en-US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長期</a:t>
                      </a:r>
                      <a:r>
                        <a:rPr lang="ja-JP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（</a:t>
                      </a:r>
                      <a:r>
                        <a:rPr lang="en-US" altLang="ja-JP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2</a:t>
                      </a:r>
                      <a:r>
                        <a:rPr lang="en-US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0</a:t>
                      </a:r>
                      <a:r>
                        <a:rPr lang="ja-JP" altLang="en-US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～</a:t>
                      </a:r>
                      <a:r>
                        <a:rPr lang="en-US" altLang="ja-JP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30</a:t>
                      </a:r>
                      <a:r>
                        <a:rPr lang="ja-JP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年後</a:t>
                      </a:r>
                      <a:r>
                        <a:rPr lang="ja-JP" altLang="en-US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等での理想的な状態</a:t>
                      </a:r>
                      <a:r>
                        <a:rPr lang="ja-JP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）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/>
                        <a:ea typeface="游ゴシック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0160614"/>
                  </a:ext>
                </a:extLst>
              </a:tr>
              <a:tr h="500616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ja-JP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社会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/>
                        <a:ea typeface="游ゴシック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altLang="ja-JP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  <a:cs typeface="Times New Roman"/>
                        </a:rPr>
                        <a:t>XX</a:t>
                      </a:r>
                      <a:endParaRPr lang="ja-JP" sz="900" kern="100" err="1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ja-JP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lang="ja-JP" alt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ja-JP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altLang="ja-JP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lang="ja-JP" alt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1730402"/>
                  </a:ext>
                </a:extLst>
              </a:tr>
              <a:tr h="192289">
                <a:tc gridSpan="5"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29543" marR="18557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buNone/>
                      </a:pPr>
                      <a:endParaRPr lang="ja-JP" sz="10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6000" marR="22613" marT="22613" marB="226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buNone/>
                      </a:pPr>
                      <a:endParaRPr lang="ja-JP" sz="10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6000" marR="22613" marT="22613" marB="226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buNone/>
                      </a:pPr>
                      <a:endParaRPr lang="ja-JP" sz="10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6000" marR="22613" marT="22613" marB="226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93663" indent="-93663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altLang="ja-JP" sz="10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6000" marR="22613" marT="22613" marB="226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4815526"/>
                  </a:ext>
                </a:extLst>
              </a:tr>
              <a:tr h="811841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ja-JP" altLang="en-US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  <a:cs typeface="Times New Roman"/>
                        </a:rPr>
                        <a:t>当事者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/>
                        <a:ea typeface="游ゴシック"/>
                        <a:cs typeface="Times New Roman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/>
                          <a:ea typeface="游ゴシック"/>
                          <a:cs typeface="Times New Roman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/>
                        <a:ea typeface="游ゴシック"/>
                        <a:cs typeface="Times New Roman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/>
                          <a:ea typeface="游ゴシック"/>
                          <a:cs typeface="Times New Roman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/>
                        <a:ea typeface="游ゴシック"/>
                        <a:cs typeface="Times New Roman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6179311"/>
                  </a:ext>
                </a:extLst>
              </a:tr>
              <a:tr h="841062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en-US" altLang="ja-JP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XX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/>
                        <a:ea typeface="游ゴシック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/>
                          <a:ea typeface="游ゴシック"/>
                          <a:cs typeface="Times New Roman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/>
                        <a:ea typeface="游ゴシック"/>
                        <a:cs typeface="Times New Roman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/>
                          <a:ea typeface="游ゴシック"/>
                          <a:cs typeface="Times New Roman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/>
                        <a:ea typeface="游ゴシック"/>
                        <a:cs typeface="Times New Roman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/>
                          <a:ea typeface="游ゴシック"/>
                          <a:cs typeface="Times New Roman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/>
                        <a:ea typeface="游ゴシック"/>
                        <a:cs typeface="Times New Roman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945242"/>
                  </a:ext>
                </a:extLst>
              </a:tr>
              <a:tr h="841062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en-US" altLang="ja-JP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</a:rPr>
                        <a:t>XX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/>
                        <a:ea typeface="游ゴシック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/>
                          <a:ea typeface="游ゴシック"/>
                          <a:cs typeface="Times New Roman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/>
                        <a:ea typeface="游ゴシック"/>
                        <a:cs typeface="Times New Roman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/>
                          <a:ea typeface="游ゴシック"/>
                          <a:cs typeface="Times New Roman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/>
                        <a:ea typeface="游ゴシック"/>
                        <a:cs typeface="Times New Roman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5279237"/>
                  </a:ext>
                </a:extLst>
              </a:tr>
              <a:tr h="905422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en-US" altLang="ja-JP" sz="900" kern="100">
                          <a:solidFill>
                            <a:schemeClr val="tx1"/>
                          </a:solidFill>
                          <a:effectLst/>
                          <a:latin typeface="游ゴシック"/>
                          <a:ea typeface="游ゴシック"/>
                          <a:cs typeface="Times New Roman"/>
                        </a:rPr>
                        <a:t>XX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/>
                        <a:ea typeface="游ゴシック"/>
                        <a:cs typeface="Times New Roman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/>
                          <a:ea typeface="游ゴシック"/>
                          <a:cs typeface="Times New Roman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/>
                        <a:ea typeface="游ゴシック"/>
                        <a:cs typeface="Times New Roman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/>
                          <a:ea typeface="游ゴシック"/>
                          <a:cs typeface="Times New Roman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/>
                        <a:ea typeface="游ゴシック"/>
                        <a:cs typeface="Times New Roman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74775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0785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1F3573-5EDE-2F2F-A22F-CC4D50DE06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5CD2C8C-8915-DB4E-D3A3-33D542618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z="1300"/>
              <a:t>様式</a:t>
            </a:r>
            <a:r>
              <a:rPr lang="en-US" altLang="ja-JP" sz="1300"/>
              <a:t>8</a:t>
            </a:r>
            <a:r>
              <a:rPr lang="ja-JP" altLang="en-US" sz="1300"/>
              <a:t>：ロジックモデル</a:t>
            </a:r>
            <a:br>
              <a:rPr lang="en-US" altLang="ja-JP"/>
            </a:br>
            <a:r>
              <a:rPr lang="ja-JP" altLang="en-US"/>
              <a:t>目指す社会と、本申請で拡大・拡張を目指す事業活動との関係性</a:t>
            </a:r>
            <a:endParaRPr lang="ja-JP" altLang="en-US" sz="1625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BF0A560C-0840-4267-DD34-51750A0F19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354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B5F9AF53-F858-A440-8117-724A96330F6D}" type="slidenum">
              <a:rPr kumimoji="1" lang="ja-JP" altLang="en-US" smtClean="0"/>
              <a:pPr/>
              <a:t>2</a:t>
            </a:fld>
            <a:endParaRPr kumimoji="1" lang="ja-JP" altLang="en-US" sz="853"/>
          </a:p>
        </p:txBody>
      </p:sp>
      <p:graphicFrame>
        <p:nvGraphicFramePr>
          <p:cNvPr id="5" name="表 4">
            <a:extLst>
              <a:ext uri="{FF2B5EF4-FFF2-40B4-BE49-F238E27FC236}">
                <a16:creationId xmlns:a16="http://schemas.microsoft.com/office/drawing/2014/main" id="{84B92A41-8FAA-B9E2-DA31-743B01679B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0473271"/>
              </p:ext>
            </p:extLst>
          </p:nvPr>
        </p:nvGraphicFramePr>
        <p:xfrm>
          <a:off x="416999" y="1524376"/>
          <a:ext cx="9128784" cy="425202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76588">
                  <a:extLst>
                    <a:ext uri="{9D8B030D-6E8A-4147-A177-3AD203B41FA5}">
                      <a16:colId xmlns:a16="http://schemas.microsoft.com/office/drawing/2014/main" val="1107426186"/>
                    </a:ext>
                  </a:extLst>
                </a:gridCol>
                <a:gridCol w="2189176">
                  <a:extLst>
                    <a:ext uri="{9D8B030D-6E8A-4147-A177-3AD203B41FA5}">
                      <a16:colId xmlns:a16="http://schemas.microsoft.com/office/drawing/2014/main" val="1188686188"/>
                    </a:ext>
                  </a:extLst>
                </a:gridCol>
                <a:gridCol w="2158079">
                  <a:extLst>
                    <a:ext uri="{9D8B030D-6E8A-4147-A177-3AD203B41FA5}">
                      <a16:colId xmlns:a16="http://schemas.microsoft.com/office/drawing/2014/main" val="3429660047"/>
                    </a:ext>
                  </a:extLst>
                </a:gridCol>
                <a:gridCol w="2143476">
                  <a:extLst>
                    <a:ext uri="{9D8B030D-6E8A-4147-A177-3AD203B41FA5}">
                      <a16:colId xmlns:a16="http://schemas.microsoft.com/office/drawing/2014/main" val="1578500198"/>
                    </a:ext>
                  </a:extLst>
                </a:gridCol>
                <a:gridCol w="2161465">
                  <a:extLst>
                    <a:ext uri="{9D8B030D-6E8A-4147-A177-3AD203B41FA5}">
                      <a16:colId xmlns:a16="http://schemas.microsoft.com/office/drawing/2014/main" val="1325922300"/>
                    </a:ext>
                  </a:extLst>
                </a:gridCol>
              </a:tblGrid>
              <a:tr h="192289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ja-JP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現状（</a:t>
                      </a:r>
                      <a:r>
                        <a:rPr lang="en-US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2026</a:t>
                      </a:r>
                      <a:r>
                        <a:rPr lang="ja-JP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年）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ja-JP" altLang="en-US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事業活動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ja-JP" altLang="en-US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事業活動のアウトプット指標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短期</a:t>
                      </a:r>
                      <a:r>
                        <a:rPr lang="ja-JP" altLang="ja-JP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（</a:t>
                      </a:r>
                      <a:r>
                        <a:rPr lang="en-US" altLang="ja-JP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3</a:t>
                      </a:r>
                      <a:r>
                        <a:rPr lang="ja-JP" altLang="ja-JP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年</a:t>
                      </a:r>
                      <a:r>
                        <a:rPr lang="ja-JP" altLang="en-US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後</a:t>
                      </a:r>
                      <a:r>
                        <a:rPr lang="ja-JP" altLang="ja-JP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）</a:t>
                      </a:r>
                      <a:endParaRPr lang="ja-JP" alt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0160614"/>
                  </a:ext>
                </a:extLst>
              </a:tr>
              <a:tr h="500616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ja-JP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社会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ja-JP" altLang="en-US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前頁から貼り付け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alt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buNone/>
                      </a:pP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ja-JP" altLang="en-US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前頁から貼り付け</a:t>
                      </a:r>
                      <a:endParaRPr lang="ja-JP" alt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1730402"/>
                  </a:ext>
                </a:extLst>
              </a:tr>
              <a:tr h="192289">
                <a:tc gridSpan="5"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29543" marR="18557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buNone/>
                      </a:pPr>
                      <a:endParaRPr lang="ja-JP" sz="10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6000" marR="22613" marT="22613" marB="226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buNone/>
                      </a:pPr>
                      <a:endParaRPr lang="ja-JP" sz="10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6000" marR="22613" marT="22613" marB="226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buNone/>
                      </a:pPr>
                      <a:endParaRPr lang="ja-JP" sz="10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6000" marR="22613" marT="22613" marB="226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93663" indent="-93663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altLang="ja-JP" sz="10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6000" marR="22613" marT="22613" marB="226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4815526"/>
                  </a:ext>
                </a:extLst>
              </a:tr>
              <a:tr h="789990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ja-JP" altLang="en-US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当事者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ja-JP" altLang="en-US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前頁から貼り付け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ja-JP" altLang="en-US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前頁から貼り付け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6179311"/>
                  </a:ext>
                </a:extLst>
              </a:tr>
              <a:tr h="830356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en-US" altLang="ja-JP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XX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ja-JP" altLang="en-US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前頁から貼り付け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ja-JP" altLang="en-US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前頁から貼り付け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945242"/>
                  </a:ext>
                </a:extLst>
              </a:tr>
              <a:tr h="841062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en-US" altLang="ja-JP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XX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ja-JP" altLang="en-US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前頁から貼り付け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ja-JP" altLang="en-US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前頁から貼り付け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5279237"/>
                  </a:ext>
                </a:extLst>
              </a:tr>
              <a:tr h="905422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None/>
                      </a:pPr>
                      <a:r>
                        <a:rPr lang="en-US" altLang="ja-JP" sz="900" kern="100">
                          <a:solidFill>
                            <a:schemeClr val="tx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lang="ja-JP" sz="900" kern="100">
                        <a:solidFill>
                          <a:schemeClr val="tx1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ja-JP" altLang="en-US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前頁から貼り付け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ja-JP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XX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ja-JP" altLang="en-US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游ゴシック" panose="020B0400000000000000" pitchFamily="50" charset="-128"/>
                          <a:ea typeface="游ゴシック" panose="020B0400000000000000" pitchFamily="50" charset="-128"/>
                          <a:cs typeface="Times New Roman" panose="02020603050405020304" pitchFamily="18" charset="0"/>
                        </a:rPr>
                        <a:t>前頁から貼り付け</a:t>
                      </a:r>
                      <a:endParaRPr kumimoji="0" lang="ja-JP" altLang="ja-JP" sz="9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32311" marR="20295" marT="18373" marB="183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74775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45622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ohmatsu Proposal Template_J（DTFA）_20140601">
  <a:themeElements>
    <a:clrScheme name="アーバン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noFill/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7FF8F33CB57B5D44AD06DCEB42875E94" ma:contentTypeVersion="11" ma:contentTypeDescription="新しいドキュメントを作成します。" ma:contentTypeScope="" ma:versionID="fba5b325a3a8ef806b7af8e3126e01e9">
  <xsd:schema xmlns:xsd="http://www.w3.org/2001/XMLSchema" xmlns:xs="http://www.w3.org/2001/XMLSchema" xmlns:p="http://schemas.microsoft.com/office/2006/metadata/properties" xmlns:ns3="b6d4cb16-a93f-498c-8748-54353af56476" xmlns:ns4="c6b5a638-e20e-4a03-9300-8764f1b12f73" targetNamespace="http://schemas.microsoft.com/office/2006/metadata/properties" ma:root="true" ma:fieldsID="83751f31a2995a663f06dd85d17dcb56" ns3:_="" ns4:_="">
    <xsd:import namespace="b6d4cb16-a93f-498c-8748-54353af56476"/>
    <xsd:import namespace="c6b5a638-e20e-4a03-9300-8764f1b12f73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d4cb16-a93f-498c-8748-54353af5647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共有のヒントのハッシュ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b5a638-e20e-4a03-9300-8764f1b12f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9484519-1E0D-49A3-A441-D6D62778BAE9}">
  <ds:schemaRefs>
    <ds:schemaRef ds:uri="b6d4cb16-a93f-498c-8748-54353af56476"/>
    <ds:schemaRef ds:uri="c6b5a638-e20e-4a03-9300-8764f1b12f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C810D75-CCF6-483B-965C-EB18F9989D81}">
  <ds:schemaRefs>
    <ds:schemaRef ds:uri="b6d4cb16-a93f-498c-8748-54353af56476"/>
    <ds:schemaRef ds:uri="c6b5a638-e20e-4a03-9300-8764f1b12f7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39091D0-4110-4FF5-8034-336546945D1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和文テンプレート_jan2012</Template>
  <Application>Microsoft Office PowerPoint</Application>
  <PresentationFormat>A4 Paper (210x297 mm)</PresentationFormat>
  <Slides>2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Tohmatsu Proposal Template_J（DTFA）_20140601</vt:lpstr>
      <vt:lpstr>様式8：ロジックモデル 目指す社会の姿</vt:lpstr>
      <vt:lpstr>様式8：ロジックモデル 目指す社会と、本申請で拡大・拡張を目指す事業活動との関係性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50130_SIP休眠預金事業公募説明会_住宅確保困難者向け事業モデルの構築支援事業</dc:title>
  <dc:creator>今村翔</dc:creator>
  <cp:revision>1</cp:revision>
  <dcterms:created xsi:type="dcterms:W3CDTF">2013-03-14T03:44:27Z</dcterms:created>
  <dcterms:modified xsi:type="dcterms:W3CDTF">2026-02-20T12:3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F8F33CB57B5D44AD06DCEB42875E94</vt:lpwstr>
  </property>
</Properties>
</file>